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png" ContentType="image/png"/>
  <Default Extension="svg" ContentType="image/svg+xml"/>
  <Default Extension="emf" ContentType="image/x-emf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18.xml" ContentType="application/vnd.openxmlformats-officedocument.presentationml.slide+xml"/>
  <Override PartName="/ppt/tags/tag121.xml" ContentType="application/vnd.openxmlformats-officedocument.presentationml.tags+xml"/>
  <Override PartName="/ppt/tags/tag126.xml" ContentType="application/vnd.openxmlformats-officedocument.presentationml.tags+xml"/>
  <Override PartName="/ppt/tags/tag116.xml" ContentType="application/vnd.openxmlformats-officedocument.presentationml.tags+xml"/>
  <Override PartName="/ppt/tags/tag120.xml" ContentType="application/vnd.openxmlformats-officedocument.presentationml.tags+xml"/>
  <Override PartName="/ppt/tags/tag125.xml" ContentType="application/vnd.openxmlformats-officedocument.presentationml.tags+xml"/>
  <Override PartName="/ppt/tags/tag115.xml" ContentType="application/vnd.openxmlformats-officedocument.presentationml.tags+xml"/>
  <Override PartName="/ppt/tags/tag119.xml" ContentType="application/vnd.openxmlformats-officedocument.presentationml.tags+xml"/>
  <Override PartName="/ppt/tags/tag124.xml" ContentType="application/vnd.openxmlformats-officedocument.presentationml.tags+xml"/>
  <Override PartName="/ppt/tags/tag118.xml" ContentType="application/vnd.openxmlformats-officedocument.presentationml.tags+xml"/>
  <Override PartName="/ppt/notesSlides/notesSlide1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123.xml" ContentType="application/vnd.openxmlformats-officedocument.presentationml.tags+xml"/>
  <Override PartName="/ppt/tags/tag117.xml" ContentType="application/vnd.openxmlformats-officedocument.presentationml.tags+xml"/>
  <Override PartName="/ppt/tags/tag122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63" r:id="rId2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18.xml" Id="rId21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8.xml.rels>&#65279;<?xml version="1.0" encoding="utf-8"?><Relationships xmlns="http://schemas.openxmlformats.org/package/2006/relationships"><Relationship Type="http://schemas.openxmlformats.org/officeDocument/2006/relationships/slide" Target="/ppt/slides/slide18.xml" Id="rId2" /><Relationship Type="http://schemas.openxmlformats.org/officeDocument/2006/relationships/notesMaster" Target="/ppt/notesMasters/notesMaster1.xml" Id="rId1" /></Relationship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16352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8.xml.rels>&#65279;<?xml version="1.0" encoding="utf-8"?><Relationships xmlns="http://schemas.openxmlformats.org/package/2006/relationships"><Relationship Type="http://schemas.openxmlformats.org/officeDocument/2006/relationships/tags" Target="/ppt/tags/tag121.xml" Id="rId8" /><Relationship Type="http://schemas.openxmlformats.org/officeDocument/2006/relationships/tags" Target="/ppt/tags/tag126.xml" Id="rId13" /><Relationship Type="http://schemas.openxmlformats.org/officeDocument/2006/relationships/image" Target="/ppt/media/image41.png" Id="rId18" /><Relationship Type="http://schemas.openxmlformats.org/officeDocument/2006/relationships/tags" Target="/ppt/tags/tag116.xml" Id="rId3" /><Relationship Type="http://schemas.openxmlformats.org/officeDocument/2006/relationships/image" Target="/ppt/media/image44.svg" Id="rId21" /><Relationship Type="http://schemas.openxmlformats.org/officeDocument/2006/relationships/tags" Target="/ppt/tags/tag120.xml" Id="rId7" /><Relationship Type="http://schemas.openxmlformats.org/officeDocument/2006/relationships/tags" Target="/ppt/tags/tag125.xml" Id="rId12" /><Relationship Type="http://schemas.openxmlformats.org/officeDocument/2006/relationships/image" Target="/ppt/media/image4.emf" Id="rId17" /><Relationship Type="http://schemas.openxmlformats.org/officeDocument/2006/relationships/image" Target="/ppt/media/image48.svg" Id="rId25" /><Relationship Type="http://schemas.openxmlformats.org/officeDocument/2006/relationships/tags" Target="/ppt/tags/tag115.xml" Id="rId2" /><Relationship Type="http://schemas.openxmlformats.org/officeDocument/2006/relationships/oleObject" Target="/ppt/embeddings/oleObject22.bin" Id="rId16" /><Relationship Type="http://schemas.openxmlformats.org/officeDocument/2006/relationships/image" Target="/ppt/media/image43.png" Id="rId20" /><Relationship Type="http://schemas.openxmlformats.org/officeDocument/2006/relationships/vmlDrawing" Target="/ppt/drawings/vmlDrawing22.vml" Id="rId1" /><Relationship Type="http://schemas.openxmlformats.org/officeDocument/2006/relationships/tags" Target="/ppt/tags/tag119.xml" Id="rId6" /><Relationship Type="http://schemas.openxmlformats.org/officeDocument/2006/relationships/tags" Target="/ppt/tags/tag124.xml" Id="rId11" /><Relationship Type="http://schemas.openxmlformats.org/officeDocument/2006/relationships/image" Target="/ppt/media/image47.png" Id="rId24" /><Relationship Type="http://schemas.openxmlformats.org/officeDocument/2006/relationships/tags" Target="/ppt/tags/tag118.xml" Id="rId5" /><Relationship Type="http://schemas.openxmlformats.org/officeDocument/2006/relationships/notesSlide" Target="/ppt/notesSlides/notesSlide18.xml" Id="rId15" /><Relationship Type="http://schemas.openxmlformats.org/officeDocument/2006/relationships/image" Target="/ppt/media/image46.svg" Id="rId23" /><Relationship Type="http://schemas.openxmlformats.org/officeDocument/2006/relationships/tags" Target="/ppt/tags/tag123.xml" Id="rId10" /><Relationship Type="http://schemas.openxmlformats.org/officeDocument/2006/relationships/image" Target="/ppt/media/image42.svg" Id="rId19" /><Relationship Type="http://schemas.openxmlformats.org/officeDocument/2006/relationships/tags" Target="/ppt/tags/tag117.xml" Id="rId4" /><Relationship Type="http://schemas.openxmlformats.org/officeDocument/2006/relationships/tags" Target="/ppt/tags/tag122.xml" Id="rId9" /><Relationship Type="http://schemas.openxmlformats.org/officeDocument/2006/relationships/slideLayout" Target="/ppt/slideLayouts/slideLayout5.xml" Id="rId14" /><Relationship Type="http://schemas.openxmlformats.org/officeDocument/2006/relationships/image" Target="/ppt/media/image45.png" Id="rId22" /></Relationships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6287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" name="think-cell 幻灯片" r:id="rId16" imgW="349" imgH="350" progId="TCLayout.ActiveDocument.1">
                  <p:embed/>
                </p:oleObj>
              </mc:Choice>
              <mc:Fallback>
                <p:oleObj name="think-cell 幻灯片" r:id="rId1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Funnel II</a:t>
            </a:r>
          </a:p>
        </p:txBody>
      </p:sp>
      <p:grpSp>
        <p:nvGrpSpPr>
          <p:cNvPr id="2" name="Gruppieren 41">
            <a:extLst>
              <a:ext uri="{FF2B5EF4-FFF2-40B4-BE49-F238E27FC236}">
                <a16:creationId xmlns:a16="http://schemas.microsoft.com/office/drawing/2014/main" id="{033E6FBD-D4D7-3B86-55B0-A8FEDBE27F3E}"/>
              </a:ext>
            </a:extLst>
          </p:cNvPr>
          <p:cNvGrpSpPr>
            <a:grpSpLocks/>
          </p:cNvGrpSpPr>
          <p:nvPr/>
        </p:nvGrpSpPr>
        <p:grpSpPr>
          <a:xfrm>
            <a:off x="1413832" y="2270261"/>
            <a:ext cx="2833372" cy="603838"/>
            <a:chOff x="1101249" y="1981108"/>
            <a:chExt cx="2895398" cy="617057"/>
          </a:xfrm>
        </p:grpSpPr>
        <p:sp>
          <p:nvSpPr>
            <p:cNvPr id="3" name="TextBox 17">
              <a:extLst>
                <a:ext uri="{FF2B5EF4-FFF2-40B4-BE49-F238E27FC236}">
                  <a16:creationId xmlns:a16="http://schemas.microsoft.com/office/drawing/2014/main" id="{A80EA349-36C8-72B9-C542-41C9B7915B37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1101249" y="1981108"/>
              <a:ext cx="2895398" cy="22016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>
                  <a:solidFill>
                    <a:schemeClr val="accent1"/>
                  </a:solidFill>
                  <a:sym typeface="Futura"/>
                </a:rPr>
                <a:t>Lorem Ipsum</a:t>
              </a:r>
            </a:p>
          </p:txBody>
        </p:sp>
        <p:sp>
          <p:nvSpPr>
            <p:cNvPr id="4" name="Subtitle 2">
              <a:extLst>
                <a:ext uri="{FF2B5EF4-FFF2-40B4-BE49-F238E27FC236}">
                  <a16:creationId xmlns:a16="http://schemas.microsoft.com/office/drawing/2014/main" id="{18385E52-A066-7852-58C8-3B253E86A668}"/>
                </a:ext>
              </a:extLst>
            </p:cNvPr>
            <p:cNvSpPr txBox="1"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1101249" y="2228833"/>
              <a:ext cx="2895398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636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Lorem ipsum dolor sit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ame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,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consectetur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adipisici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eli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, sed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endParaRPr>
            </a:p>
          </p:txBody>
        </p:sp>
      </p:grpSp>
      <p:grpSp>
        <p:nvGrpSpPr>
          <p:cNvPr id="6" name="Gruppieren 40">
            <a:extLst>
              <a:ext uri="{FF2B5EF4-FFF2-40B4-BE49-F238E27FC236}">
                <a16:creationId xmlns:a16="http://schemas.microsoft.com/office/drawing/2014/main" id="{99E1ACA3-D686-BE88-CC11-70877B7E6942}"/>
              </a:ext>
            </a:extLst>
          </p:cNvPr>
          <p:cNvGrpSpPr>
            <a:grpSpLocks/>
          </p:cNvGrpSpPr>
          <p:nvPr/>
        </p:nvGrpSpPr>
        <p:grpSpPr>
          <a:xfrm>
            <a:off x="1413832" y="3306766"/>
            <a:ext cx="2833372" cy="603838"/>
            <a:chOff x="1101249" y="2865810"/>
            <a:chExt cx="2895398" cy="617057"/>
          </a:xfrm>
        </p:grpSpPr>
        <p:sp>
          <p:nvSpPr>
            <p:cNvPr id="7" name="TextBox 19">
              <a:extLst>
                <a:ext uri="{FF2B5EF4-FFF2-40B4-BE49-F238E27FC236}">
                  <a16:creationId xmlns:a16="http://schemas.microsoft.com/office/drawing/2014/main" id="{BE95A74E-80B5-DA8F-C1C9-760858D32217}"/>
                </a:ext>
              </a:extLst>
            </p:cNvPr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1101249" y="2865810"/>
              <a:ext cx="2895398" cy="22016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defRPr/>
              </a:pPr>
              <a:r>
                <a:rPr lang="en-US" sz="1400" b="1">
                  <a:solidFill>
                    <a:schemeClr val="accent1"/>
                  </a:solidFill>
                  <a:sym typeface="Futura"/>
                </a:rPr>
                <a:t>Lorem Ipsum</a:t>
              </a:r>
            </a:p>
          </p:txBody>
        </p:sp>
        <p:sp>
          <p:nvSpPr>
            <p:cNvPr id="9" name="Subtitle 2">
              <a:extLst>
                <a:ext uri="{FF2B5EF4-FFF2-40B4-BE49-F238E27FC236}">
                  <a16:creationId xmlns:a16="http://schemas.microsoft.com/office/drawing/2014/main" id="{8B87CF97-7597-B0F5-3DD7-AF81AAF4F3D7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1101249" y="3113535"/>
              <a:ext cx="2895398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636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Lorem ipsum dolor sit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ame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,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consectetur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adipisici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eli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, sed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endParaRPr>
            </a:p>
          </p:txBody>
        </p:sp>
      </p:grpSp>
      <p:grpSp>
        <p:nvGrpSpPr>
          <p:cNvPr id="11" name="Gruppieren 42">
            <a:extLst>
              <a:ext uri="{FF2B5EF4-FFF2-40B4-BE49-F238E27FC236}">
                <a16:creationId xmlns:a16="http://schemas.microsoft.com/office/drawing/2014/main" id="{F0DFEC50-D728-3096-A918-69ED0C9CA774}"/>
              </a:ext>
            </a:extLst>
          </p:cNvPr>
          <p:cNvGrpSpPr>
            <a:grpSpLocks/>
          </p:cNvGrpSpPr>
          <p:nvPr/>
        </p:nvGrpSpPr>
        <p:grpSpPr>
          <a:xfrm>
            <a:off x="1413832" y="4343272"/>
            <a:ext cx="2833372" cy="603838"/>
            <a:chOff x="1101249" y="3991568"/>
            <a:chExt cx="2895398" cy="617057"/>
          </a:xfrm>
        </p:grpSpPr>
        <p:sp>
          <p:nvSpPr>
            <p:cNvPr id="12" name="TextBox 21">
              <a:extLst>
                <a:ext uri="{FF2B5EF4-FFF2-40B4-BE49-F238E27FC236}">
                  <a16:creationId xmlns:a16="http://schemas.microsoft.com/office/drawing/2014/main" id="{33630B64-D632-EA32-F8F9-A53503924F9F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101249" y="3991568"/>
              <a:ext cx="2895398" cy="22016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defRPr/>
              </a:pPr>
              <a:r>
                <a:rPr lang="en-US" sz="1400" b="1">
                  <a:solidFill>
                    <a:schemeClr val="accent1"/>
                  </a:solidFill>
                  <a:sym typeface="Futura"/>
                </a:rPr>
                <a:t>Lorem Ipsum</a:t>
              </a:r>
            </a:p>
          </p:txBody>
        </p:sp>
        <p:sp>
          <p:nvSpPr>
            <p:cNvPr id="13" name="Subtitle 2">
              <a:extLst>
                <a:ext uri="{FF2B5EF4-FFF2-40B4-BE49-F238E27FC236}">
                  <a16:creationId xmlns:a16="http://schemas.microsoft.com/office/drawing/2014/main" id="{C18BDAA6-0F40-843B-89AF-E2C9F5E10E33}"/>
                </a:ext>
              </a:extLst>
            </p:cNvPr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101249" y="4239293"/>
              <a:ext cx="2895398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636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Lorem ipsum dolor sit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ame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,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consectetur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adipisici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eli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, sed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endParaRPr>
            </a:p>
          </p:txBody>
        </p:sp>
      </p:grpSp>
      <p:grpSp>
        <p:nvGrpSpPr>
          <p:cNvPr id="14" name="Gruppieren 43">
            <a:extLst>
              <a:ext uri="{FF2B5EF4-FFF2-40B4-BE49-F238E27FC236}">
                <a16:creationId xmlns:a16="http://schemas.microsoft.com/office/drawing/2014/main" id="{469408F2-8363-07DE-E79E-D504C9785865}"/>
              </a:ext>
            </a:extLst>
          </p:cNvPr>
          <p:cNvGrpSpPr>
            <a:grpSpLocks/>
          </p:cNvGrpSpPr>
          <p:nvPr/>
        </p:nvGrpSpPr>
        <p:grpSpPr>
          <a:xfrm>
            <a:off x="1413832" y="5379775"/>
            <a:ext cx="2833372" cy="604323"/>
            <a:chOff x="1101249" y="5158695"/>
            <a:chExt cx="2895398" cy="617553"/>
          </a:xfrm>
        </p:grpSpPr>
        <p:sp>
          <p:nvSpPr>
            <p:cNvPr id="15" name="TextBox 24">
              <a:extLst>
                <a:ext uri="{FF2B5EF4-FFF2-40B4-BE49-F238E27FC236}">
                  <a16:creationId xmlns:a16="http://schemas.microsoft.com/office/drawing/2014/main" id="{6D9AE1C8-FB20-00E3-6640-C1571F8A426E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101249" y="5158695"/>
              <a:ext cx="2895398" cy="22016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defRPr/>
              </a:pPr>
              <a:r>
                <a:rPr lang="en-US" sz="1400" b="1">
                  <a:solidFill>
                    <a:schemeClr val="accent1"/>
                  </a:solidFill>
                </a:rPr>
                <a:t>Lorem Ipsum</a:t>
              </a:r>
            </a:p>
          </p:txBody>
        </p:sp>
        <p:sp>
          <p:nvSpPr>
            <p:cNvPr id="16" name="Subtitle 2">
              <a:extLst>
                <a:ext uri="{FF2B5EF4-FFF2-40B4-BE49-F238E27FC236}">
                  <a16:creationId xmlns:a16="http://schemas.microsoft.com/office/drawing/2014/main" id="{40B1BFE7-F8B8-990C-41B9-2EF419A8E0B9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1101249" y="5406916"/>
              <a:ext cx="2895398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636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Lorem ipsum dolor sit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ame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,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consectetur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adipisici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eli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Open Sans Light"/>
                </a:rPr>
                <a:t>, sed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endParaRPr>
            </a:p>
          </p:txBody>
        </p:sp>
      </p:grpSp>
      <p:sp>
        <p:nvSpPr>
          <p:cNvPr id="17" name="TextBox 27">
            <a:extLst>
              <a:ext uri="{FF2B5EF4-FFF2-40B4-BE49-F238E27FC236}">
                <a16:creationId xmlns:a16="http://schemas.microsoft.com/office/drawing/2014/main" id="{A48BAC46-9E0B-C470-9B57-322988D6CDB6}"/>
              </a:ext>
            </a:extLst>
          </p:cNvPr>
          <p:cNvSpPr txBox="1">
            <a:spLocks/>
          </p:cNvSpPr>
          <p:nvPr/>
        </p:nvSpPr>
        <p:spPr>
          <a:xfrm>
            <a:off x="8305245" y="3648348"/>
            <a:ext cx="3358071" cy="36142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R="0" lvl="0" fontAlgn="auto"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400">
                <a:solidFill>
                  <a:schemeClr val="tx2"/>
                </a:solidFill>
                <a:sym typeface="Futura"/>
              </a:rPr>
              <a:t>Lorem Ipsum</a:t>
            </a:r>
          </a:p>
        </p:txBody>
      </p:sp>
      <p:sp>
        <p:nvSpPr>
          <p:cNvPr id="18" name="Freeform 33">
            <a:extLst>
              <a:ext uri="{FF2B5EF4-FFF2-40B4-BE49-F238E27FC236}">
                <a16:creationId xmlns:a16="http://schemas.microsoft.com/office/drawing/2014/main" id="{A313A6FE-CFA5-A27E-11C1-210C08DAD51A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889552" y="3043422"/>
            <a:ext cx="2405766" cy="1182345"/>
          </a:xfrm>
          <a:custGeom>
            <a:avLst/>
            <a:gdLst>
              <a:gd name="T0" fmla="*/ 287 w 584"/>
              <a:gd name="T1" fmla="*/ 243 h 243"/>
              <a:gd name="T2" fmla="*/ 498 w 584"/>
              <a:gd name="T3" fmla="*/ 208 h 243"/>
              <a:gd name="T4" fmla="*/ 584 w 584"/>
              <a:gd name="T5" fmla="*/ 0 h 243"/>
              <a:gd name="T6" fmla="*/ 291 w 584"/>
              <a:gd name="T7" fmla="*/ 33 h 243"/>
              <a:gd name="T8" fmla="*/ 0 w 584"/>
              <a:gd name="T9" fmla="*/ 0 h 243"/>
              <a:gd name="T10" fmla="*/ 84 w 584"/>
              <a:gd name="T11" fmla="*/ 211 h 243"/>
              <a:gd name="T12" fmla="*/ 287 w 584"/>
              <a:gd name="T13" fmla="*/ 243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4" h="243">
                <a:moveTo>
                  <a:pt x="287" y="243"/>
                </a:moveTo>
                <a:cubicBezTo>
                  <a:pt x="379" y="243"/>
                  <a:pt x="458" y="229"/>
                  <a:pt x="498" y="208"/>
                </a:cubicBezTo>
                <a:cubicBezTo>
                  <a:pt x="519" y="141"/>
                  <a:pt x="547" y="71"/>
                  <a:pt x="584" y="0"/>
                </a:cubicBezTo>
                <a:cubicBezTo>
                  <a:pt x="526" y="19"/>
                  <a:pt x="417" y="33"/>
                  <a:pt x="291" y="33"/>
                </a:cubicBezTo>
                <a:cubicBezTo>
                  <a:pt x="167" y="33"/>
                  <a:pt x="59" y="20"/>
                  <a:pt x="0" y="0"/>
                </a:cubicBezTo>
                <a:cubicBezTo>
                  <a:pt x="29" y="60"/>
                  <a:pt x="59" y="130"/>
                  <a:pt x="84" y="211"/>
                </a:cubicBezTo>
                <a:cubicBezTo>
                  <a:pt x="125" y="231"/>
                  <a:pt x="201" y="243"/>
                  <a:pt x="287" y="243"/>
                </a:cubicBez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80168" tIns="40084" rIns="80168" bIns="4008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5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9" name="Freeform 34">
            <a:extLst>
              <a:ext uri="{FF2B5EF4-FFF2-40B4-BE49-F238E27FC236}">
                <a16:creationId xmlns:a16="http://schemas.microsoft.com/office/drawing/2014/main" id="{A3949B83-9404-D89E-A931-BDDD784E8E66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5234372" y="4056721"/>
            <a:ext cx="1705827" cy="1167033"/>
          </a:xfrm>
          <a:custGeom>
            <a:avLst/>
            <a:gdLst>
              <a:gd name="T0" fmla="*/ 203 w 414"/>
              <a:gd name="T1" fmla="*/ 35 h 240"/>
              <a:gd name="T2" fmla="*/ 0 w 414"/>
              <a:gd name="T3" fmla="*/ 3 h 240"/>
              <a:gd name="T4" fmla="*/ 46 w 414"/>
              <a:gd name="T5" fmla="*/ 204 h 240"/>
              <a:gd name="T6" fmla="*/ 49 w 414"/>
              <a:gd name="T7" fmla="*/ 215 h 240"/>
              <a:gd name="T8" fmla="*/ 205 w 414"/>
              <a:gd name="T9" fmla="*/ 240 h 240"/>
              <a:gd name="T10" fmla="*/ 354 w 414"/>
              <a:gd name="T11" fmla="*/ 217 h 240"/>
              <a:gd name="T12" fmla="*/ 362 w 414"/>
              <a:gd name="T13" fmla="*/ 214 h 240"/>
              <a:gd name="T14" fmla="*/ 376 w 414"/>
              <a:gd name="T15" fmla="*/ 139 h 240"/>
              <a:gd name="T16" fmla="*/ 414 w 414"/>
              <a:gd name="T17" fmla="*/ 0 h 240"/>
              <a:gd name="T18" fmla="*/ 203 w 414"/>
              <a:gd name="T19" fmla="*/ 35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4" h="240">
                <a:moveTo>
                  <a:pt x="203" y="35"/>
                </a:moveTo>
                <a:cubicBezTo>
                  <a:pt x="117" y="35"/>
                  <a:pt x="41" y="23"/>
                  <a:pt x="0" y="3"/>
                </a:cubicBezTo>
                <a:cubicBezTo>
                  <a:pt x="18" y="64"/>
                  <a:pt x="35" y="131"/>
                  <a:pt x="46" y="204"/>
                </a:cubicBezTo>
                <a:cubicBezTo>
                  <a:pt x="47" y="208"/>
                  <a:pt x="48" y="211"/>
                  <a:pt x="49" y="215"/>
                </a:cubicBezTo>
                <a:cubicBezTo>
                  <a:pt x="85" y="230"/>
                  <a:pt x="142" y="240"/>
                  <a:pt x="205" y="240"/>
                </a:cubicBezTo>
                <a:cubicBezTo>
                  <a:pt x="264" y="240"/>
                  <a:pt x="317" y="231"/>
                  <a:pt x="354" y="217"/>
                </a:cubicBezTo>
                <a:cubicBezTo>
                  <a:pt x="357" y="216"/>
                  <a:pt x="359" y="215"/>
                  <a:pt x="362" y="214"/>
                </a:cubicBezTo>
                <a:cubicBezTo>
                  <a:pt x="366" y="190"/>
                  <a:pt x="371" y="165"/>
                  <a:pt x="376" y="139"/>
                </a:cubicBezTo>
                <a:cubicBezTo>
                  <a:pt x="386" y="96"/>
                  <a:pt x="398" y="49"/>
                  <a:pt x="414" y="0"/>
                </a:cubicBezTo>
                <a:cubicBezTo>
                  <a:pt x="374" y="21"/>
                  <a:pt x="295" y="35"/>
                  <a:pt x="203" y="35"/>
                </a:cubicBezTo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80168" tIns="40084" rIns="80168" bIns="4008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5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grpSp>
        <p:nvGrpSpPr>
          <p:cNvPr id="20" name="Group 9">
            <a:extLst>
              <a:ext uri="{FF2B5EF4-FFF2-40B4-BE49-F238E27FC236}">
                <a16:creationId xmlns:a16="http://schemas.microsoft.com/office/drawing/2014/main" id="{5E74D1E2-70CF-66F9-32A9-24B7747283AA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>
          <a:xfrm>
            <a:off x="4242543" y="1557338"/>
            <a:ext cx="3718024" cy="1651254"/>
            <a:chOff x="3990355" y="1893606"/>
            <a:chExt cx="4208222" cy="1585475"/>
          </a:xfrm>
        </p:grpSpPr>
        <p:sp>
          <p:nvSpPr>
            <p:cNvPr id="21" name="Freeform 31">
              <a:extLst>
                <a:ext uri="{FF2B5EF4-FFF2-40B4-BE49-F238E27FC236}">
                  <a16:creationId xmlns:a16="http://schemas.microsoft.com/office/drawing/2014/main" id="{CA0E4D63-D793-5687-42E0-0F0EA6BD9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0355" y="1893606"/>
              <a:ext cx="4208222" cy="612542"/>
            </a:xfrm>
            <a:custGeom>
              <a:avLst/>
              <a:gdLst>
                <a:gd name="T0" fmla="*/ 452 w 903"/>
                <a:gd name="T1" fmla="*/ 0 h 131"/>
                <a:gd name="T2" fmla="*/ 0 w 903"/>
                <a:gd name="T3" fmla="*/ 65 h 131"/>
                <a:gd name="T4" fmla="*/ 11 w 903"/>
                <a:gd name="T5" fmla="*/ 80 h 131"/>
                <a:gd name="T6" fmla="*/ 452 w 903"/>
                <a:gd name="T7" fmla="*/ 131 h 131"/>
                <a:gd name="T8" fmla="*/ 686 w 903"/>
                <a:gd name="T9" fmla="*/ 121 h 131"/>
                <a:gd name="T10" fmla="*/ 686 w 903"/>
                <a:gd name="T11" fmla="*/ 121 h 131"/>
                <a:gd name="T12" fmla="*/ 753 w 903"/>
                <a:gd name="T13" fmla="*/ 114 h 131"/>
                <a:gd name="T14" fmla="*/ 753 w 903"/>
                <a:gd name="T15" fmla="*/ 114 h 131"/>
                <a:gd name="T16" fmla="*/ 760 w 903"/>
                <a:gd name="T17" fmla="*/ 113 h 131"/>
                <a:gd name="T18" fmla="*/ 761 w 903"/>
                <a:gd name="T19" fmla="*/ 113 h 131"/>
                <a:gd name="T20" fmla="*/ 768 w 903"/>
                <a:gd name="T21" fmla="*/ 112 h 131"/>
                <a:gd name="T22" fmla="*/ 768 w 903"/>
                <a:gd name="T23" fmla="*/ 112 h 131"/>
                <a:gd name="T24" fmla="*/ 775 w 903"/>
                <a:gd name="T25" fmla="*/ 111 h 131"/>
                <a:gd name="T26" fmla="*/ 776 w 903"/>
                <a:gd name="T27" fmla="*/ 111 h 131"/>
                <a:gd name="T28" fmla="*/ 783 w 903"/>
                <a:gd name="T29" fmla="*/ 110 h 131"/>
                <a:gd name="T30" fmla="*/ 783 w 903"/>
                <a:gd name="T31" fmla="*/ 110 h 131"/>
                <a:gd name="T32" fmla="*/ 893 w 903"/>
                <a:gd name="T33" fmla="*/ 80 h 131"/>
                <a:gd name="T34" fmla="*/ 903 w 903"/>
                <a:gd name="T35" fmla="*/ 65 h 131"/>
                <a:gd name="T36" fmla="*/ 452 w 903"/>
                <a:gd name="T37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3" h="131">
                  <a:moveTo>
                    <a:pt x="452" y="0"/>
                  </a:moveTo>
                  <a:cubicBezTo>
                    <a:pt x="203" y="0"/>
                    <a:pt x="0" y="29"/>
                    <a:pt x="0" y="65"/>
                  </a:cubicBezTo>
                  <a:cubicBezTo>
                    <a:pt x="0" y="70"/>
                    <a:pt x="4" y="75"/>
                    <a:pt x="11" y="80"/>
                  </a:cubicBezTo>
                  <a:cubicBezTo>
                    <a:pt x="56" y="109"/>
                    <a:pt x="236" y="131"/>
                    <a:pt x="452" y="131"/>
                  </a:cubicBezTo>
                  <a:cubicBezTo>
                    <a:pt x="538" y="131"/>
                    <a:pt x="618" y="127"/>
                    <a:pt x="686" y="121"/>
                  </a:cubicBezTo>
                  <a:cubicBezTo>
                    <a:pt x="686" y="121"/>
                    <a:pt x="686" y="121"/>
                    <a:pt x="686" y="121"/>
                  </a:cubicBezTo>
                  <a:cubicBezTo>
                    <a:pt x="710" y="119"/>
                    <a:pt x="732" y="117"/>
                    <a:pt x="753" y="114"/>
                  </a:cubicBezTo>
                  <a:cubicBezTo>
                    <a:pt x="753" y="114"/>
                    <a:pt x="753" y="114"/>
                    <a:pt x="753" y="114"/>
                  </a:cubicBezTo>
                  <a:cubicBezTo>
                    <a:pt x="756" y="114"/>
                    <a:pt x="758" y="114"/>
                    <a:pt x="760" y="113"/>
                  </a:cubicBezTo>
                  <a:cubicBezTo>
                    <a:pt x="761" y="113"/>
                    <a:pt x="761" y="113"/>
                    <a:pt x="761" y="113"/>
                  </a:cubicBezTo>
                  <a:cubicBezTo>
                    <a:pt x="763" y="113"/>
                    <a:pt x="766" y="113"/>
                    <a:pt x="768" y="112"/>
                  </a:cubicBezTo>
                  <a:cubicBezTo>
                    <a:pt x="768" y="112"/>
                    <a:pt x="768" y="112"/>
                    <a:pt x="768" y="112"/>
                  </a:cubicBezTo>
                  <a:cubicBezTo>
                    <a:pt x="771" y="112"/>
                    <a:pt x="773" y="111"/>
                    <a:pt x="775" y="111"/>
                  </a:cubicBezTo>
                  <a:cubicBezTo>
                    <a:pt x="776" y="111"/>
                    <a:pt x="776" y="111"/>
                    <a:pt x="776" y="111"/>
                  </a:cubicBezTo>
                  <a:cubicBezTo>
                    <a:pt x="778" y="111"/>
                    <a:pt x="780" y="110"/>
                    <a:pt x="783" y="110"/>
                  </a:cubicBezTo>
                  <a:cubicBezTo>
                    <a:pt x="783" y="110"/>
                    <a:pt x="783" y="110"/>
                    <a:pt x="783" y="110"/>
                  </a:cubicBezTo>
                  <a:cubicBezTo>
                    <a:pt x="836" y="102"/>
                    <a:pt x="875" y="91"/>
                    <a:pt x="893" y="80"/>
                  </a:cubicBezTo>
                  <a:cubicBezTo>
                    <a:pt x="900" y="75"/>
                    <a:pt x="903" y="70"/>
                    <a:pt x="903" y="65"/>
                  </a:cubicBezTo>
                  <a:cubicBezTo>
                    <a:pt x="903" y="29"/>
                    <a:pt x="701" y="0"/>
                    <a:pt x="452" y="0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80168" tIns="40084" rIns="80168" bIns="4008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5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2" name="Oval 32">
              <a:extLst>
                <a:ext uri="{FF2B5EF4-FFF2-40B4-BE49-F238E27FC236}">
                  <a16:creationId xmlns:a16="http://schemas.microsoft.com/office/drawing/2014/main" id="{7CAAB76B-7B5F-4713-82C1-7C553F945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3931" y="2053551"/>
              <a:ext cx="2857153" cy="34139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80168" tIns="40084" rIns="80168" bIns="4008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5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3" name="Freeform 35">
              <a:extLst>
                <a:ext uri="{FF2B5EF4-FFF2-40B4-BE49-F238E27FC236}">
                  <a16:creationId xmlns:a16="http://schemas.microsoft.com/office/drawing/2014/main" id="{F148FB96-7CE6-0256-9B39-FD84D3B2CD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2625" y="2265431"/>
              <a:ext cx="4108687" cy="1213650"/>
            </a:xfrm>
            <a:custGeom>
              <a:avLst/>
              <a:gdLst>
                <a:gd name="T0" fmla="*/ 882 w 882"/>
                <a:gd name="T1" fmla="*/ 0 h 260"/>
                <a:gd name="T2" fmla="*/ 798 w 882"/>
                <a:gd name="T3" fmla="*/ 25 h 260"/>
                <a:gd name="T4" fmla="*/ 675 w 882"/>
                <a:gd name="T5" fmla="*/ 41 h 260"/>
                <a:gd name="T6" fmla="*/ 441 w 882"/>
                <a:gd name="T7" fmla="*/ 51 h 260"/>
                <a:gd name="T8" fmla="*/ 0 w 882"/>
                <a:gd name="T9" fmla="*/ 0 h 260"/>
                <a:gd name="T10" fmla="*/ 0 w 882"/>
                <a:gd name="T11" fmla="*/ 0 h 260"/>
                <a:gd name="T12" fmla="*/ 146 w 882"/>
                <a:gd name="T13" fmla="*/ 227 h 260"/>
                <a:gd name="T14" fmla="*/ 437 w 882"/>
                <a:gd name="T15" fmla="*/ 260 h 260"/>
                <a:gd name="T16" fmla="*/ 604 w 882"/>
                <a:gd name="T17" fmla="*/ 251 h 260"/>
                <a:gd name="T18" fmla="*/ 683 w 882"/>
                <a:gd name="T19" fmla="*/ 239 h 260"/>
                <a:gd name="T20" fmla="*/ 730 w 882"/>
                <a:gd name="T21" fmla="*/ 227 h 260"/>
                <a:gd name="T22" fmla="*/ 882 w 882"/>
                <a:gd name="T23" fmla="*/ 0 h 260"/>
                <a:gd name="T24" fmla="*/ 882 w 882"/>
                <a:gd name="T25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2" h="260">
                  <a:moveTo>
                    <a:pt x="882" y="0"/>
                  </a:moveTo>
                  <a:cubicBezTo>
                    <a:pt x="867" y="9"/>
                    <a:pt x="838" y="18"/>
                    <a:pt x="798" y="25"/>
                  </a:cubicBezTo>
                  <a:cubicBezTo>
                    <a:pt x="765" y="32"/>
                    <a:pt x="723" y="37"/>
                    <a:pt x="675" y="41"/>
                  </a:cubicBezTo>
                  <a:cubicBezTo>
                    <a:pt x="607" y="47"/>
                    <a:pt x="527" y="51"/>
                    <a:pt x="441" y="51"/>
                  </a:cubicBezTo>
                  <a:cubicBezTo>
                    <a:pt x="225" y="51"/>
                    <a:pt x="45" y="29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73" y="78"/>
                    <a:pt x="146" y="227"/>
                  </a:cubicBezTo>
                  <a:cubicBezTo>
                    <a:pt x="205" y="247"/>
                    <a:pt x="313" y="260"/>
                    <a:pt x="437" y="260"/>
                  </a:cubicBezTo>
                  <a:cubicBezTo>
                    <a:pt x="498" y="260"/>
                    <a:pt x="555" y="257"/>
                    <a:pt x="604" y="251"/>
                  </a:cubicBezTo>
                  <a:cubicBezTo>
                    <a:pt x="634" y="248"/>
                    <a:pt x="660" y="244"/>
                    <a:pt x="683" y="239"/>
                  </a:cubicBezTo>
                  <a:cubicBezTo>
                    <a:pt x="701" y="235"/>
                    <a:pt x="717" y="231"/>
                    <a:pt x="730" y="227"/>
                  </a:cubicBezTo>
                  <a:cubicBezTo>
                    <a:pt x="770" y="150"/>
                    <a:pt x="819" y="73"/>
                    <a:pt x="882" y="0"/>
                  </a:cubicBezTo>
                  <a:cubicBezTo>
                    <a:pt x="882" y="0"/>
                    <a:pt x="882" y="0"/>
                    <a:pt x="882" y="0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80168" tIns="40084" rIns="80168" bIns="4008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5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</p:grpSp>
      <p:pic>
        <p:nvPicPr>
          <p:cNvPr id="24" name="Grafik 27">
            <a:extLst>
              <a:ext uri="{FF2B5EF4-FFF2-40B4-BE49-F238E27FC236}">
                <a16:creationId xmlns:a16="http://schemas.microsoft.com/office/drawing/2014/main" id="{84AE7461-94CA-04EC-2C76-0964E92D96D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787238" y="3407748"/>
            <a:ext cx="637955" cy="637955"/>
          </a:xfrm>
          <a:prstGeom prst="rect">
            <a:avLst/>
          </a:prstGeom>
        </p:spPr>
      </p:pic>
      <p:pic>
        <p:nvPicPr>
          <p:cNvPr id="25" name="Grafik 29">
            <a:extLst>
              <a:ext uri="{FF2B5EF4-FFF2-40B4-BE49-F238E27FC236}">
                <a16:creationId xmlns:a16="http://schemas.microsoft.com/office/drawing/2014/main" id="{44FE73B8-0FFF-A2A6-099B-E9515499FC25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787238" y="2420779"/>
            <a:ext cx="637955" cy="637955"/>
          </a:xfrm>
          <a:prstGeom prst="rect">
            <a:avLst/>
          </a:prstGeom>
        </p:spPr>
      </p:pic>
      <p:pic>
        <p:nvPicPr>
          <p:cNvPr id="26" name="Grafik 31">
            <a:extLst>
              <a:ext uri="{FF2B5EF4-FFF2-40B4-BE49-F238E27FC236}">
                <a16:creationId xmlns:a16="http://schemas.microsoft.com/office/drawing/2014/main" id="{79DAE9C9-FF56-01CA-012F-3E1BE0ABE4D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787238" y="5419945"/>
            <a:ext cx="637955" cy="637955"/>
          </a:xfrm>
          <a:prstGeom prst="rect">
            <a:avLst/>
          </a:prstGeom>
        </p:spPr>
      </p:pic>
      <p:pic>
        <p:nvPicPr>
          <p:cNvPr id="27" name="Grafik 33">
            <a:extLst>
              <a:ext uri="{FF2B5EF4-FFF2-40B4-BE49-F238E27FC236}">
                <a16:creationId xmlns:a16="http://schemas.microsoft.com/office/drawing/2014/main" id="{0712B2D2-9EC6-C674-C8D5-DE070EBBCC7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787238" y="4373902"/>
            <a:ext cx="637955" cy="637955"/>
          </a:xfrm>
          <a:prstGeom prst="rect">
            <a:avLst/>
          </a:prstGeom>
        </p:spPr>
      </p:pic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68B6745B-CF33-344B-07A6-A52C7215B75D}"/>
              </a:ext>
            </a:extLst>
          </p:cNvPr>
          <p:cNvSpPr txBox="1">
            <a:spLocks/>
          </p:cNvSpPr>
          <p:nvPr/>
        </p:nvSpPr>
        <p:spPr>
          <a:xfrm>
            <a:off x="8305245" y="4104651"/>
            <a:ext cx="3358071" cy="11182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</a:p>
          <a:p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  <a:p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29" name="Gleichschenkliges Dreieck 39">
            <a:extLst>
              <a:ext uri="{FF2B5EF4-FFF2-40B4-BE49-F238E27FC236}">
                <a16:creationId xmlns:a16="http://schemas.microsoft.com/office/drawing/2014/main" id="{BD5CCCA5-36A0-BFB5-BF70-FFAE2C0ABE05}"/>
              </a:ext>
            </a:extLst>
          </p:cNvPr>
          <p:cNvSpPr>
            <a:spLocks/>
          </p:cNvSpPr>
          <p:nvPr/>
        </p:nvSpPr>
        <p:spPr>
          <a:xfrm rot="5400000">
            <a:off x="7737837" y="3746608"/>
            <a:ext cx="296880" cy="156301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8221EF43-0370-313E-A585-2DE13FEFD2C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4195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funnels</a:t>
            </a:r>
          </a:p>
        </p:txBody>
      </p:sp>
    </p:spTree>
    <p:extLst>
      <p:ext uri="{BB962C8B-B14F-4D97-AF65-F5344CB8AC3E}">
        <p14:creationId xmlns:p14="http://schemas.microsoft.com/office/powerpoint/2010/main" val="5116452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